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10" r:id="rId4"/>
  </p:sldMasterIdLst>
  <p:notesMasterIdLst>
    <p:notesMasterId r:id="rId6"/>
  </p:notesMasterIdLst>
  <p:handoutMasterIdLst>
    <p:handoutMasterId r:id="rId7"/>
  </p:handoutMasterIdLst>
  <p:sldIdLst>
    <p:sldId id="844" r:id="rId5"/>
  </p:sldIdLst>
  <p:sldSz cx="9144000" cy="6858000" type="screen4x3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1820" userDrawn="1">
          <p15:clr>
            <a:srgbClr val="A4A3A4"/>
          </p15:clr>
        </p15:guide>
        <p15:guide id="12" orient="horz" pos="1071" userDrawn="1">
          <p15:clr>
            <a:srgbClr val="A4A3A4"/>
          </p15:clr>
        </p15:guide>
        <p15:guide id="13" orient="horz" pos="4026">
          <p15:clr>
            <a:srgbClr val="A4A3A4"/>
          </p15:clr>
        </p15:guide>
        <p15:guide id="14" orient="horz" pos="1296">
          <p15:clr>
            <a:srgbClr val="A4A3A4"/>
          </p15:clr>
        </p15:guide>
        <p15:guide id="15" pos="250">
          <p15:clr>
            <a:srgbClr val="A4A3A4"/>
          </p15:clr>
        </p15:guide>
        <p15:guide id="16" pos="55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E7E6E6"/>
    <a:srgbClr val="44546A"/>
    <a:srgbClr val="86BC25"/>
    <a:srgbClr val="046A38"/>
    <a:srgbClr val="62B5E5"/>
    <a:srgbClr val="012169"/>
    <a:srgbClr val="0097A9"/>
    <a:srgbClr val="7578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984" autoAdjust="0"/>
  </p:normalViewPr>
  <p:slideViewPr>
    <p:cSldViewPr snapToGrid="0" snapToObjects="1" showGuides="1">
      <p:cViewPr varScale="1">
        <p:scale>
          <a:sx n="84" d="100"/>
          <a:sy n="84" d="100"/>
        </p:scale>
        <p:origin x="1094" y="41"/>
      </p:cViewPr>
      <p:guideLst>
        <p:guide/>
        <p:guide orient="horz" pos="1820"/>
        <p:guide orient="horz" pos="1071"/>
        <p:guide orient="horz" pos="4026"/>
        <p:guide orient="horz" pos="1296"/>
        <p:guide pos="250"/>
        <p:guide pos="553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5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0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544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95288" y="5549440"/>
            <a:ext cx="41767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4813"/>
            <a:ext cx="1633731" cy="30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353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3700" y="1705669"/>
            <a:ext cx="7888288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3700" y="3429000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395306029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3699" y="1628775"/>
            <a:ext cx="6948000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314593016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3699" y="1628775"/>
            <a:ext cx="6948000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279309247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3699" y="1628775"/>
            <a:ext cx="6948000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231115978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3699" y="1628775"/>
            <a:ext cx="6948000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407197667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3699" y="1628775"/>
            <a:ext cx="6948000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280152141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6970268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589760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49371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863808" y="1701800"/>
            <a:ext cx="4886492" cy="467995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3062300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9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2016 Deloitte</a:t>
            </a:r>
          </a:p>
        </p:txBody>
      </p:sp>
    </p:spTree>
    <p:extLst>
      <p:ext uri="{BB962C8B-B14F-4D97-AF65-F5344CB8AC3E}">
        <p14:creationId xmlns:p14="http://schemas.microsoft.com/office/powerpoint/2010/main" val="334984208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96000" y="1700213"/>
            <a:ext cx="83543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4947444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96000" y="295682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96000" y="1700213"/>
            <a:ext cx="8354300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3440827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544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95288" y="5549440"/>
            <a:ext cx="41767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5929"/>
            <a:ext cx="1633731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9580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93700" y="1700213"/>
            <a:ext cx="8356600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3854875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1999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8352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14989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1999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8352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255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3700" y="2051999"/>
            <a:ext cx="2642082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26532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45400" y="2051999"/>
            <a:ext cx="26532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45399" y="1700213"/>
            <a:ext cx="26532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108214" y="2051999"/>
            <a:ext cx="264208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700213"/>
            <a:ext cx="2655503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494746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3700" y="2051999"/>
            <a:ext cx="2642082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26532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45400" y="2051999"/>
            <a:ext cx="26532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45399" y="1700213"/>
            <a:ext cx="26532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108214" y="2051999"/>
            <a:ext cx="264208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700213"/>
            <a:ext cx="2655503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3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1864637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422" y="295683"/>
            <a:ext cx="838281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5422" y="651600"/>
            <a:ext cx="8382818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2"/>
            <a:ext cx="3961722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700212"/>
            <a:ext cx="3964145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9694264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2"/>
            <a:ext cx="3961722" cy="4681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700213"/>
            <a:ext cx="3962300" cy="46815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7300301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95422" y="1700213"/>
            <a:ext cx="396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3994383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700213"/>
            <a:ext cx="398945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0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164663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3616" y="2125013"/>
            <a:ext cx="3994384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3617" y="1700213"/>
            <a:ext cx="3994383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96000" y="2125013"/>
            <a:ext cx="3987619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96000" y="1700213"/>
            <a:ext cx="398945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704429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3616" y="2125013"/>
            <a:ext cx="3994384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3617" y="1700213"/>
            <a:ext cx="3994383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96000" y="2125013"/>
            <a:ext cx="3987619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96000" y="1700213"/>
            <a:ext cx="398945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3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3093889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4813"/>
            <a:ext cx="1633731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2173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3263900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879515" y="1700213"/>
            <a:ext cx="4870785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402827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700212"/>
            <a:ext cx="3066888" cy="4681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93700" y="1700212"/>
            <a:ext cx="4862299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5099602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further exper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422" y="295683"/>
            <a:ext cx="8382818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5422" y="651600"/>
            <a:ext cx="8382818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96000" y="1700213"/>
            <a:ext cx="3996000" cy="4680000"/>
          </a:xfrm>
        </p:spPr>
        <p:txBody>
          <a:bodyPr>
            <a:noAutofit/>
          </a:bodyPr>
          <a:lstStyle>
            <a:lvl1pPr>
              <a:defRPr b="1"/>
            </a:lvl1pPr>
            <a:lvl2pPr>
              <a:defRPr b="0"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4752000" y="1700213"/>
            <a:ext cx="3996000" cy="4680000"/>
          </a:xfrm>
        </p:spPr>
        <p:txBody>
          <a:bodyPr>
            <a:noAutofit/>
          </a:bodyPr>
          <a:lstStyle>
            <a:lvl1pPr>
              <a:defRPr b="1"/>
            </a:lvl1pPr>
            <a:lvl2pPr>
              <a:defRPr b="0"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172918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further experienc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396000" y="1700213"/>
            <a:ext cx="3996000" cy="4680000"/>
          </a:xfrm>
        </p:spPr>
        <p:txBody>
          <a:bodyPr/>
          <a:lstStyle>
            <a:lvl1pPr>
              <a:defRPr b="1"/>
            </a:lvl1pPr>
            <a:lvl2pPr>
              <a:defRPr b="0"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752000" y="1700213"/>
            <a:ext cx="3996000" cy="4680000"/>
          </a:xfrm>
        </p:spPr>
        <p:txBody>
          <a:bodyPr/>
          <a:lstStyle>
            <a:lvl1pPr>
              <a:defRPr b="1"/>
            </a:lvl1pPr>
            <a:lvl2pPr>
              <a:defRPr b="0"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7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7 Deloitte </a:t>
            </a:r>
          </a:p>
        </p:txBody>
      </p:sp>
    </p:spTree>
    <p:extLst>
      <p:ext uri="{BB962C8B-B14F-4D97-AF65-F5344CB8AC3E}">
        <p14:creationId xmlns:p14="http://schemas.microsoft.com/office/powerpoint/2010/main" val="377862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052000" y="1700213"/>
            <a:ext cx="2340000" cy="151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396000" y="3501750"/>
            <a:ext cx="3996000" cy="2880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4752000" y="1700212"/>
            <a:ext cx="3996000" cy="4681537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254625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nam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3" name="Bildplatzhalter 2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052000" y="1700213"/>
            <a:ext cx="2340000" cy="151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396000" y="3501750"/>
            <a:ext cx="3996000" cy="2880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4788000" y="1700213"/>
            <a:ext cx="3960000" cy="468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7 Deloitte </a:t>
            </a:r>
          </a:p>
        </p:txBody>
      </p:sp>
    </p:spTree>
    <p:extLst>
      <p:ext uri="{BB962C8B-B14F-4D97-AF65-F5344CB8AC3E}">
        <p14:creationId xmlns:p14="http://schemas.microsoft.com/office/powerpoint/2010/main" val="1710537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052000" y="1700213"/>
            <a:ext cx="2340000" cy="151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396000" y="3501750"/>
            <a:ext cx="3996000" cy="2880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5" name="Bildplatzhalter 3"/>
          <p:cNvSpPr>
            <a:spLocks noGrp="1" noChangeAspect="1"/>
          </p:cNvSpPr>
          <p:nvPr>
            <p:ph type="pic" sz="quarter" idx="17"/>
          </p:nvPr>
        </p:nvSpPr>
        <p:spPr>
          <a:xfrm>
            <a:off x="4752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6408000" y="1700213"/>
            <a:ext cx="2340000" cy="151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4752000" y="3501750"/>
            <a:ext cx="3996000" cy="2880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1120580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names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3" name="Bildplatzhalter 2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052000" y="1700213"/>
            <a:ext cx="2340000" cy="151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396000" y="3501750"/>
            <a:ext cx="3996000" cy="28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b="1"/>
            </a:lvl1pPr>
            <a:lvl2pPr>
              <a:spcBef>
                <a:spcPts val="0"/>
              </a:spcBef>
              <a:spcAft>
                <a:spcPts val="0"/>
              </a:spcAft>
              <a:defRPr b="0"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Bildplatzhalter 2"/>
          <p:cNvSpPr>
            <a:spLocks noGrp="1" noChangeAspect="1"/>
          </p:cNvSpPr>
          <p:nvPr>
            <p:ph type="pic" sz="quarter" idx="17"/>
          </p:nvPr>
        </p:nvSpPr>
        <p:spPr>
          <a:xfrm>
            <a:off x="4752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8"/>
          </p:nvPr>
        </p:nvSpPr>
        <p:spPr>
          <a:xfrm>
            <a:off x="6408000" y="1700213"/>
            <a:ext cx="2340000" cy="151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9"/>
          </p:nvPr>
        </p:nvSpPr>
        <p:spPr>
          <a:xfrm>
            <a:off x="4752000" y="3501750"/>
            <a:ext cx="3996000" cy="28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b="1"/>
            </a:lvl1pPr>
            <a:lvl2pPr>
              <a:spcBef>
                <a:spcPts val="0"/>
              </a:spcBef>
              <a:spcAft>
                <a:spcPts val="0"/>
              </a:spcAft>
              <a:defRPr b="0"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1431441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Bildplatzhalter 3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052000" y="1700213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5" name="Bildplatzhalter 3"/>
          <p:cNvSpPr>
            <a:spLocks noGrp="1" noChangeAspect="1"/>
          </p:cNvSpPr>
          <p:nvPr>
            <p:ph type="pic" sz="quarter" idx="16"/>
          </p:nvPr>
        </p:nvSpPr>
        <p:spPr>
          <a:xfrm>
            <a:off x="4752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6408000" y="1700213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Bildplatzhalter 3"/>
          <p:cNvSpPr>
            <a:spLocks noGrp="1" noChangeAspect="1"/>
          </p:cNvSpPr>
          <p:nvPr>
            <p:ph type="pic" sz="quarter" idx="18"/>
          </p:nvPr>
        </p:nvSpPr>
        <p:spPr>
          <a:xfrm>
            <a:off x="396000" y="4255306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052000" y="4221750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0" name="Bildplatzhalter 3"/>
          <p:cNvSpPr>
            <a:spLocks noGrp="1" noChangeAspect="1"/>
          </p:cNvSpPr>
          <p:nvPr>
            <p:ph type="pic" sz="quarter" idx="20"/>
          </p:nvPr>
        </p:nvSpPr>
        <p:spPr>
          <a:xfrm>
            <a:off x="4752000" y="4255306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6408000" y="4221750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091244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names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3" name="Bildplatzhalter 2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052000" y="1700213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52000" y="1734081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408000" y="1700213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Bildplatzhalter 2"/>
          <p:cNvSpPr>
            <a:spLocks noGrp="1" noChangeAspect="1"/>
          </p:cNvSpPr>
          <p:nvPr>
            <p:ph type="pic" sz="quarter" idx="18"/>
          </p:nvPr>
        </p:nvSpPr>
        <p:spPr>
          <a:xfrm>
            <a:off x="396000" y="4255306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9"/>
          </p:nvPr>
        </p:nvSpPr>
        <p:spPr>
          <a:xfrm>
            <a:off x="2052000" y="4221750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0" name="Bildplatzhalter 2"/>
          <p:cNvSpPr>
            <a:spLocks noGrp="1" noChangeAspect="1"/>
          </p:cNvSpPr>
          <p:nvPr>
            <p:ph type="pic" sz="quarter" idx="20"/>
          </p:nvPr>
        </p:nvSpPr>
        <p:spPr>
          <a:xfrm>
            <a:off x="4752000" y="4255306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21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6408000" y="4221750"/>
            <a:ext cx="2340000" cy="21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701292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5929"/>
            <a:ext cx="1633731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1808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nam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Bildplatzhalter 3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396000" y="3357750"/>
            <a:ext cx="1836000" cy="302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b="1"/>
            </a:lvl1pPr>
            <a:lvl2pPr>
              <a:spcBef>
                <a:spcPts val="0"/>
              </a:spcBef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4" name="Bildplatzhalter 3"/>
          <p:cNvSpPr>
            <a:spLocks noGrp="1" noChangeAspect="1"/>
          </p:cNvSpPr>
          <p:nvPr>
            <p:ph type="pic" sz="quarter" idx="16"/>
          </p:nvPr>
        </p:nvSpPr>
        <p:spPr>
          <a:xfrm>
            <a:off x="2568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568000" y="3357750"/>
            <a:ext cx="1836000" cy="302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b="1"/>
            </a:lvl1pPr>
            <a:lvl2pPr>
              <a:spcBef>
                <a:spcPts val="0"/>
              </a:spcBef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Bildplatzhalter 3"/>
          <p:cNvSpPr>
            <a:spLocks noGrp="1" noChangeAspect="1"/>
          </p:cNvSpPr>
          <p:nvPr>
            <p:ph type="pic" sz="quarter" idx="18"/>
          </p:nvPr>
        </p:nvSpPr>
        <p:spPr>
          <a:xfrm>
            <a:off x="4740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4740000" y="3357750"/>
            <a:ext cx="1836000" cy="302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b="1"/>
            </a:lvl1pPr>
            <a:lvl2pPr>
              <a:spcBef>
                <a:spcPts val="0"/>
              </a:spcBef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Bildplatzhalter 3"/>
          <p:cNvSpPr>
            <a:spLocks noGrp="1" noChangeAspect="1"/>
          </p:cNvSpPr>
          <p:nvPr>
            <p:ph type="pic" sz="quarter" idx="20"/>
          </p:nvPr>
        </p:nvSpPr>
        <p:spPr>
          <a:xfrm>
            <a:off x="6912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6912000" y="3357750"/>
            <a:ext cx="1836000" cy="302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b="1"/>
            </a:lvl1pPr>
            <a:lvl2pPr>
              <a:spcBef>
                <a:spcPts val="0"/>
              </a:spcBef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804719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names (2)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3" name="Bildplatzhalter 2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96000" y="3357750"/>
            <a:ext cx="1836000" cy="3024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2568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2568000" y="3357750"/>
            <a:ext cx="1836000" cy="3024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Bildplatzhalter 2"/>
          <p:cNvSpPr>
            <a:spLocks noGrp="1" noChangeAspect="1"/>
          </p:cNvSpPr>
          <p:nvPr>
            <p:ph type="pic" sz="quarter" idx="18"/>
          </p:nvPr>
        </p:nvSpPr>
        <p:spPr>
          <a:xfrm>
            <a:off x="4740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9"/>
          </p:nvPr>
        </p:nvSpPr>
        <p:spPr>
          <a:xfrm>
            <a:off x="4740000" y="3357750"/>
            <a:ext cx="1836000" cy="3024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Bildplatzhalter 2"/>
          <p:cNvSpPr>
            <a:spLocks noGrp="1" noChangeAspect="1"/>
          </p:cNvSpPr>
          <p:nvPr>
            <p:ph type="pic" sz="quarter" idx="20"/>
          </p:nvPr>
        </p:nvSpPr>
        <p:spPr>
          <a:xfrm>
            <a:off x="6912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6912000" y="3357750"/>
            <a:ext cx="1836000" cy="3024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  <a:lvl3pPr>
              <a:spcBef>
                <a:spcPts val="600"/>
              </a:spcBef>
              <a:spcAft>
                <a:spcPts val="0"/>
              </a:spcAft>
              <a:defRPr b="0"/>
            </a:lvl3pPr>
            <a:lvl4pPr>
              <a:spcAft>
                <a:spcPts val="0"/>
              </a:spcAft>
              <a:defRPr b="0"/>
            </a:lvl4pPr>
            <a:lvl5pPr>
              <a:spcAft>
                <a:spcPts val="0"/>
              </a:spcAft>
              <a:defRPr b="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1730187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96000" y="1700213"/>
            <a:ext cx="1476000" cy="1476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8000" y="1700213"/>
            <a:ext cx="1476000" cy="1476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20000" y="1700213"/>
            <a:ext cx="1476000" cy="1476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2000" y="1700213"/>
            <a:ext cx="1476000" cy="1476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6000" y="3357750"/>
            <a:ext cx="2016000" cy="30240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0000" y="3357750"/>
            <a:ext cx="2016000" cy="30240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000" y="3357750"/>
            <a:ext cx="2016000" cy="30240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32000" y="3357750"/>
            <a:ext cx="2016000" cy="30240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en-US" sz="2000" dirty="0" smtClean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3058637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3" name="Bildplatzhalter 2"/>
          <p:cNvSpPr>
            <a:spLocks noGrp="1" noChangeAspect="1"/>
          </p:cNvSpPr>
          <p:nvPr>
            <p:ph type="pic" sz="quarter" idx="14"/>
          </p:nvPr>
        </p:nvSpPr>
        <p:spPr>
          <a:xfrm>
            <a:off x="396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96000" y="3357750"/>
            <a:ext cx="2016000" cy="3024000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r>
              <a:rPr lang="en-US" noProof="0" dirty="0"/>
              <a:t>Sixth level</a:t>
            </a:r>
          </a:p>
          <a:p>
            <a:pPr lvl="4"/>
            <a:r>
              <a:rPr lang="en-US" noProof="0" dirty="0"/>
              <a:t>Seventh level</a:t>
            </a:r>
          </a:p>
          <a:p>
            <a:pPr lvl="4"/>
            <a:r>
              <a:rPr lang="en-US" noProof="0" dirty="0"/>
              <a:t>Eighth level</a:t>
            </a:r>
          </a:p>
          <a:p>
            <a:pPr lvl="4"/>
            <a:r>
              <a:rPr lang="en-US" noProof="0" dirty="0"/>
              <a:t>Ninth level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2508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2508000" y="3357750"/>
            <a:ext cx="2016000" cy="3024000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r>
              <a:rPr lang="en-US" noProof="0" dirty="0"/>
              <a:t>Sixth level</a:t>
            </a:r>
          </a:p>
          <a:p>
            <a:pPr lvl="4"/>
            <a:r>
              <a:rPr lang="en-US" noProof="0" dirty="0"/>
              <a:t>Seventh level</a:t>
            </a:r>
          </a:p>
          <a:p>
            <a:pPr lvl="4"/>
            <a:r>
              <a:rPr lang="en-US" noProof="0" dirty="0"/>
              <a:t>Eighth level</a:t>
            </a:r>
          </a:p>
          <a:p>
            <a:pPr lvl="4"/>
            <a:r>
              <a:rPr lang="en-US" noProof="0" dirty="0"/>
              <a:t>Ninth level</a:t>
            </a:r>
          </a:p>
        </p:txBody>
      </p:sp>
      <p:sp>
        <p:nvSpPr>
          <p:cNvPr id="17" name="Bildplatzhalter 2"/>
          <p:cNvSpPr>
            <a:spLocks noGrp="1" noChangeAspect="1"/>
          </p:cNvSpPr>
          <p:nvPr>
            <p:ph type="pic" sz="quarter" idx="18"/>
          </p:nvPr>
        </p:nvSpPr>
        <p:spPr>
          <a:xfrm>
            <a:off x="4620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620000" y="3357750"/>
            <a:ext cx="2016000" cy="3024000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r>
              <a:rPr lang="en-US" noProof="0" dirty="0"/>
              <a:t>Sixth level</a:t>
            </a:r>
          </a:p>
          <a:p>
            <a:pPr lvl="4"/>
            <a:r>
              <a:rPr lang="en-US" noProof="0" dirty="0"/>
              <a:t>Seventh level</a:t>
            </a:r>
          </a:p>
          <a:p>
            <a:pPr lvl="4"/>
            <a:r>
              <a:rPr lang="en-US" noProof="0" dirty="0"/>
              <a:t>Eighth level</a:t>
            </a:r>
          </a:p>
          <a:p>
            <a:pPr lvl="4"/>
            <a:r>
              <a:rPr lang="en-US" noProof="0" dirty="0"/>
              <a:t>Ninth level</a:t>
            </a:r>
          </a:p>
        </p:txBody>
      </p:sp>
      <p:sp>
        <p:nvSpPr>
          <p:cNvPr id="19" name="Bildplatzhalter 2"/>
          <p:cNvSpPr>
            <a:spLocks noGrp="1" noChangeAspect="1"/>
          </p:cNvSpPr>
          <p:nvPr>
            <p:ph type="pic" sz="quarter" idx="20"/>
          </p:nvPr>
        </p:nvSpPr>
        <p:spPr>
          <a:xfrm>
            <a:off x="6732000" y="1700213"/>
            <a:ext cx="1476000" cy="1476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6732000" y="3357750"/>
            <a:ext cx="2016000" cy="3024000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>
              <a:spcAft>
                <a:spcPts val="0"/>
              </a:spcAft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r>
              <a:rPr lang="en-US" noProof="0" dirty="0"/>
              <a:t>Sixth level</a:t>
            </a:r>
          </a:p>
          <a:p>
            <a:pPr lvl="4"/>
            <a:r>
              <a:rPr lang="en-US" noProof="0" dirty="0"/>
              <a:t>Seventh level</a:t>
            </a:r>
          </a:p>
          <a:p>
            <a:pPr lvl="4"/>
            <a:r>
              <a:rPr lang="en-US" noProof="0" dirty="0"/>
              <a:t>Eighth level</a:t>
            </a:r>
          </a:p>
          <a:p>
            <a:pPr lvl="4"/>
            <a:r>
              <a:rPr lang="en-US" noProof="0" dirty="0"/>
              <a:t>Ninth level</a:t>
            </a:r>
          </a:p>
        </p:txBody>
      </p:sp>
      <p:sp>
        <p:nvSpPr>
          <p:cNvPr id="13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4134118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95288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44000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95288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44000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95288" y="1880213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44000" y="1880213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95288" y="4256213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44000" y="4256213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24644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73356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4644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73356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7345890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93700" y="1700213"/>
            <a:ext cx="2754313" cy="1971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700213"/>
            <a:ext cx="2745501" cy="1971675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3"/>
            <a:ext cx="2743200" cy="1971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960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45501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2266182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2805961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5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3676577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3701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60582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95288" y="171172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0582" y="171172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87751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2388646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3701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60582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95288" y="171172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0582" y="171172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87751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95288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60581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93699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60581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0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0906439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3700" y="1705669"/>
            <a:ext cx="7888288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3700" y="3429000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2016 Deloitte</a:t>
            </a:r>
          </a:p>
        </p:txBody>
      </p:sp>
    </p:spTree>
    <p:extLst>
      <p:ext uri="{BB962C8B-B14F-4D97-AF65-F5344CB8AC3E}">
        <p14:creationId xmlns:p14="http://schemas.microsoft.com/office/powerpoint/2010/main" val="280084299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5543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93700" y="1700213"/>
            <a:ext cx="2644321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05981" y="1705968"/>
            <a:ext cx="264432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784680"/>
            <a:ext cx="2655433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6000" y="1784680"/>
            <a:ext cx="2642020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05980" y="1784680"/>
            <a:ext cx="2644320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0077308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6000" y="2556000"/>
            <a:ext cx="1908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0000" y="2556000"/>
            <a:ext cx="19103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44000" y="2556000"/>
            <a:ext cx="1908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92000" y="2556000"/>
            <a:ext cx="1908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1802319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3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96000" y="2556000"/>
            <a:ext cx="1908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0000" y="2556000"/>
            <a:ext cx="19103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44000" y="2556000"/>
            <a:ext cx="1908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92000" y="2556000"/>
            <a:ext cx="1908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10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151084145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96000" y="1700213"/>
            <a:ext cx="4176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4597395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96000" y="1700213"/>
            <a:ext cx="4176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6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3694004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579987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5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221337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6000" y="1705669"/>
            <a:ext cx="7885988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6000" y="3429000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2016 Deloitte</a:t>
            </a:r>
          </a:p>
        </p:txBody>
      </p:sp>
    </p:spTree>
    <p:extLst>
      <p:ext uri="{BB962C8B-B14F-4D97-AF65-F5344CB8AC3E}">
        <p14:creationId xmlns:p14="http://schemas.microsoft.com/office/powerpoint/2010/main" val="9336506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3700" y="1705669"/>
            <a:ext cx="7888288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3700" y="3429000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2016 Deloitte</a:t>
            </a:r>
          </a:p>
        </p:txBody>
      </p:sp>
    </p:spTree>
    <p:extLst>
      <p:ext uri="{BB962C8B-B14F-4D97-AF65-F5344CB8AC3E}">
        <p14:creationId xmlns:p14="http://schemas.microsoft.com/office/powerpoint/2010/main" val="11606036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3700" y="1705669"/>
            <a:ext cx="7888288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3700" y="3429000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7842789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3700" y="1705669"/>
            <a:ext cx="7888288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3700" y="3429000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2016 Deloitte </a:t>
            </a:r>
          </a:p>
        </p:txBody>
      </p:sp>
    </p:spTree>
    <p:extLst>
      <p:ext uri="{BB962C8B-B14F-4D97-AF65-F5344CB8AC3E}">
        <p14:creationId xmlns:p14="http://schemas.microsoft.com/office/powerpoint/2010/main" val="18009652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61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" name="think-cell Slide" r:id="rId60" imgW="270" imgH="270" progId="TCLayout.ActiveDocument.1">
                  <p:embed/>
                </p:oleObj>
              </mc:Choice>
              <mc:Fallback>
                <p:oleObj name="think-cell Slide" r:id="rId6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96000" y="295683"/>
            <a:ext cx="835200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93700" y="1700213"/>
            <a:ext cx="8356600" cy="4681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TextBox 17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2017 Deloitte </a:t>
            </a:r>
          </a:p>
        </p:txBody>
      </p:sp>
    </p:spTree>
    <p:extLst>
      <p:ext uri="{BB962C8B-B14F-4D97-AF65-F5344CB8AC3E}">
        <p14:creationId xmlns:p14="http://schemas.microsoft.com/office/powerpoint/2010/main" val="2941423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  <p:sldLayoutId id="2147483924" r:id="rId14"/>
    <p:sldLayoutId id="2147483925" r:id="rId15"/>
    <p:sldLayoutId id="2147483926" r:id="rId16"/>
    <p:sldLayoutId id="2147483927" r:id="rId17"/>
    <p:sldLayoutId id="2147483928" r:id="rId18"/>
    <p:sldLayoutId id="2147483929" r:id="rId19"/>
    <p:sldLayoutId id="2147483930" r:id="rId20"/>
    <p:sldLayoutId id="2147483931" r:id="rId21"/>
    <p:sldLayoutId id="2147483932" r:id="rId22"/>
    <p:sldLayoutId id="2147483933" r:id="rId23"/>
    <p:sldLayoutId id="2147483934" r:id="rId24"/>
    <p:sldLayoutId id="2147483935" r:id="rId25"/>
    <p:sldLayoutId id="2147483936" r:id="rId26"/>
    <p:sldLayoutId id="2147483937" r:id="rId27"/>
    <p:sldLayoutId id="2147483938" r:id="rId28"/>
    <p:sldLayoutId id="2147483939" r:id="rId29"/>
    <p:sldLayoutId id="2147483940" r:id="rId30"/>
    <p:sldLayoutId id="2147483941" r:id="rId31"/>
    <p:sldLayoutId id="2147483942" r:id="rId32"/>
    <p:sldLayoutId id="2147483943" r:id="rId33"/>
    <p:sldLayoutId id="2147483944" r:id="rId34"/>
    <p:sldLayoutId id="2147483945" r:id="rId35"/>
    <p:sldLayoutId id="2147483946" r:id="rId36"/>
    <p:sldLayoutId id="2147483947" r:id="rId37"/>
    <p:sldLayoutId id="2147483948" r:id="rId38"/>
    <p:sldLayoutId id="2147483949" r:id="rId39"/>
    <p:sldLayoutId id="2147483950" r:id="rId40"/>
    <p:sldLayoutId id="2147483951" r:id="rId41"/>
    <p:sldLayoutId id="2147483952" r:id="rId42"/>
    <p:sldLayoutId id="2147483953" r:id="rId43"/>
    <p:sldLayoutId id="2147483954" r:id="rId44"/>
    <p:sldLayoutId id="2147483955" r:id="rId45"/>
    <p:sldLayoutId id="2147483956" r:id="rId46"/>
    <p:sldLayoutId id="2147483957" r:id="rId47"/>
    <p:sldLayoutId id="2147483958" r:id="rId48"/>
    <p:sldLayoutId id="2147483959" r:id="rId49"/>
    <p:sldLayoutId id="2147483960" r:id="rId50"/>
    <p:sldLayoutId id="2147483961" r:id="rId51"/>
    <p:sldLayoutId id="2147483962" r:id="rId52"/>
    <p:sldLayoutId id="2147483963" r:id="rId53"/>
    <p:sldLayoutId id="2147483964" r:id="rId54"/>
    <p:sldLayoutId id="2147483965" r:id="rId55"/>
    <p:sldLayoutId id="2147483966" r:id="rId56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48">
          <p15:clr>
            <a:srgbClr val="F26B43"/>
          </p15:clr>
        </p15:guide>
        <p15:guide id="5" pos="5512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178">
          <p15:clr>
            <a:srgbClr val="F26B43"/>
          </p15:clr>
        </p15:guide>
        <p15:guide id="8" orient="horz" pos="4088">
          <p15:clr>
            <a:srgbClr val="F26B43"/>
          </p15:clr>
        </p15:guide>
        <p15:guide id="9" pos="2767">
          <p15:clr>
            <a:srgbClr val="F26B43"/>
          </p15:clr>
        </p15:guide>
        <p15:guide id="10" pos="29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1800" dirty="0"/>
              <a:t>Profil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5"/>
          </p:nvPr>
        </p:nvSpPr>
        <p:spPr>
          <a:xfrm>
            <a:off x="1872000" y="1003857"/>
            <a:ext cx="2341274" cy="1512000"/>
          </a:xfrm>
        </p:spPr>
        <p:txBody>
          <a:bodyPr/>
          <a:lstStyle/>
          <a:p>
            <a:r>
              <a:rPr lang="en-US" sz="1100" dirty="0" smtClean="0"/>
              <a:t>Ankur Arora</a:t>
            </a:r>
            <a:endParaRPr lang="en-US" sz="1100" dirty="0"/>
          </a:p>
          <a:p>
            <a:pPr lvl="1"/>
            <a:endParaRPr lang="en-US" sz="1100" dirty="0"/>
          </a:p>
          <a:p>
            <a:pPr lvl="1"/>
            <a:r>
              <a:rPr lang="en-US" sz="1100" dirty="0" smtClean="0"/>
              <a:t>Senior Consultant, </a:t>
            </a:r>
            <a:r>
              <a:rPr lang="en-US" sz="1100" dirty="0"/>
              <a:t>AIM AAE</a:t>
            </a:r>
          </a:p>
          <a:p>
            <a:pPr lvl="1"/>
            <a:r>
              <a:rPr lang="it-IT" sz="1100" dirty="0" smtClean="0"/>
              <a:t>Gurgaon, </a:t>
            </a:r>
            <a:r>
              <a:rPr lang="it-IT" sz="1100" dirty="0"/>
              <a:t>India</a:t>
            </a:r>
          </a:p>
          <a:p>
            <a:pPr lvl="1"/>
            <a:r>
              <a:rPr lang="it-IT" sz="1100" dirty="0" smtClean="0"/>
              <a:t>+</a:t>
            </a:r>
            <a:r>
              <a:rPr lang="it-IT" sz="1100" dirty="0"/>
              <a:t>91 12 4629 5985</a:t>
            </a:r>
            <a:endParaRPr lang="it-IT" sz="1100" dirty="0"/>
          </a:p>
          <a:p>
            <a:pPr lvl="1"/>
            <a:r>
              <a:rPr lang="it-IT" sz="1100" dirty="0" smtClean="0"/>
              <a:t>ankuarora@deloitte.com</a:t>
            </a:r>
            <a:endParaRPr lang="it-IT" sz="110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6"/>
          </p:nvPr>
        </p:nvSpPr>
        <p:spPr>
          <a:xfrm>
            <a:off x="396000" y="2713951"/>
            <a:ext cx="3817274" cy="3264817"/>
          </a:xfrm>
        </p:spPr>
        <p:txBody>
          <a:bodyPr/>
          <a:lstStyle/>
          <a:p>
            <a:r>
              <a:rPr lang="en-US" sz="1100" dirty="0"/>
              <a:t>Summary of professional experience</a:t>
            </a:r>
          </a:p>
          <a:p>
            <a:pPr lvl="1" algn="just"/>
            <a:r>
              <a:rPr lang="en-US" sz="1100" dirty="0"/>
              <a:t>Ankur is a Data Scientist with more than 9 years of experience in various domains and functionalities. He has vast experience in designing analytic solutions focused on customer strategy, price &amp; promotion, cost optimization, revenue assurance and fraud analytics across multiple industries and geographies.</a:t>
            </a:r>
          </a:p>
          <a:p>
            <a:pPr lvl="1" algn="just"/>
            <a:endParaRPr lang="en-US" sz="1100" dirty="0"/>
          </a:p>
          <a:p>
            <a:pPr lvl="1" algn="just"/>
            <a:r>
              <a:rPr lang="en-US" sz="1100" dirty="0"/>
              <a:t>He has proficiency in using the latest tools and technologies which are required for performing data extraction, analysis and visualization. The key areas of expertise include </a:t>
            </a:r>
            <a:r>
              <a:rPr lang="en-US" sz="1100" dirty="0" smtClean="0"/>
              <a:t>Python, SAS</a:t>
            </a:r>
            <a:r>
              <a:rPr lang="en-US" sz="1100" dirty="0"/>
              <a:t>, </a:t>
            </a:r>
            <a:r>
              <a:rPr lang="en-US" sz="1100" dirty="0" smtClean="0"/>
              <a:t>SQL and Tableau and techniques </a:t>
            </a:r>
            <a:r>
              <a:rPr lang="en-US" sz="1100" dirty="0"/>
              <a:t>such as Regression, Classification, Clustering, Hypothesis Testing, AB Testing, Text Analytics, Natural Language Processing (NLP) and Image Processing</a:t>
            </a:r>
            <a:r>
              <a:rPr lang="en-US" sz="1100" dirty="0" smtClean="0"/>
              <a:t>.</a:t>
            </a:r>
            <a:endParaRPr lang="en-US" sz="1100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7"/>
          </p:nvPr>
        </p:nvSpPr>
        <p:spPr>
          <a:xfrm>
            <a:off x="4417255" y="1003856"/>
            <a:ext cx="4389120" cy="5650162"/>
          </a:xfrm>
        </p:spPr>
        <p:txBody>
          <a:bodyPr/>
          <a:lstStyle/>
          <a:p>
            <a:pPr algn="just"/>
            <a:r>
              <a:rPr lang="en-US" sz="1100" dirty="0"/>
              <a:t>Relevant project experience</a:t>
            </a:r>
          </a:p>
          <a:p>
            <a:pPr lvl="2" algn="just"/>
            <a:r>
              <a:rPr lang="en-US" sz="1100" b="1" dirty="0" smtClean="0"/>
              <a:t>Cognitive Extraction Platform:</a:t>
            </a:r>
          </a:p>
          <a:p>
            <a:pPr marL="180000" lvl="3" indent="0" algn="just">
              <a:spcBef>
                <a:spcPts val="600"/>
              </a:spcBef>
              <a:buNone/>
            </a:pPr>
            <a:r>
              <a:rPr lang="en-US" sz="1100" dirty="0" smtClean="0"/>
              <a:t>Leading </a:t>
            </a:r>
            <a:r>
              <a:rPr lang="en-US" sz="1100" dirty="0"/>
              <a:t>a team of four analysts responsible for creating image processing modules for Deloitte’s cognitive extraction platform. The capabilities include image pre-processing, classification, slicing and OCR.</a:t>
            </a:r>
          </a:p>
          <a:p>
            <a:pPr marL="180000" lvl="3" indent="0" algn="just">
              <a:buNone/>
            </a:pPr>
            <a:r>
              <a:rPr lang="en-US" sz="1100" dirty="0" smtClean="0"/>
              <a:t>Building </a:t>
            </a:r>
            <a:r>
              <a:rPr lang="en-US" sz="1100" dirty="0"/>
              <a:t>a POC on Natural Language Processing (NLP), exploring open source libraries which can facilitate Named Entity Recognition (NER) and Intent Extraction from unstructured documents</a:t>
            </a:r>
          </a:p>
          <a:p>
            <a:pPr lvl="2" algn="just">
              <a:spcBef>
                <a:spcPts val="600"/>
              </a:spcBef>
            </a:pPr>
            <a:r>
              <a:rPr lang="en-US" sz="1100" b="1" dirty="0" smtClean="0"/>
              <a:t>Customer </a:t>
            </a:r>
            <a:r>
              <a:rPr lang="en-US" sz="1100" b="1" dirty="0"/>
              <a:t>Analytics: </a:t>
            </a:r>
            <a:endParaRPr lang="en-US" sz="1100" b="1" dirty="0"/>
          </a:p>
          <a:p>
            <a:pPr marL="180000" lvl="3" indent="0" algn="just">
              <a:spcBef>
                <a:spcPts val="600"/>
              </a:spcBef>
              <a:buNone/>
            </a:pPr>
            <a:r>
              <a:rPr lang="en-US" sz="1100" dirty="0" smtClean="0"/>
              <a:t>Worked for multiple retailers around various aspects of customer analytics including</a:t>
            </a:r>
            <a:endParaRPr lang="en-US" sz="1100" dirty="0"/>
          </a:p>
          <a:p>
            <a:pPr lvl="3" algn="just">
              <a:spcAft>
                <a:spcPts val="0"/>
              </a:spcAft>
            </a:pPr>
            <a:r>
              <a:rPr lang="en-US" sz="1100" dirty="0" smtClean="0"/>
              <a:t>Customer Insights</a:t>
            </a:r>
            <a:endParaRPr lang="en-US" sz="1100" dirty="0"/>
          </a:p>
          <a:p>
            <a:pPr lvl="3" algn="just">
              <a:spcAft>
                <a:spcPts val="0"/>
              </a:spcAft>
            </a:pPr>
            <a:r>
              <a:rPr lang="en-US" sz="1100" dirty="0" smtClean="0"/>
              <a:t>Customer Churn Models</a:t>
            </a:r>
            <a:endParaRPr lang="en-US" sz="1100" dirty="0"/>
          </a:p>
          <a:p>
            <a:pPr lvl="3" algn="just">
              <a:spcAft>
                <a:spcPts val="0"/>
              </a:spcAft>
            </a:pPr>
            <a:r>
              <a:rPr lang="en-US" sz="1100" dirty="0" smtClean="0"/>
              <a:t>Customer Response Models</a:t>
            </a:r>
            <a:endParaRPr lang="en-US" sz="1100" dirty="0"/>
          </a:p>
          <a:p>
            <a:pPr lvl="3" algn="just">
              <a:spcAft>
                <a:spcPts val="0"/>
              </a:spcAft>
            </a:pPr>
            <a:r>
              <a:rPr lang="en-US" sz="1100" dirty="0" smtClean="0"/>
              <a:t>Customer Lifetime Value (CLTV)</a:t>
            </a:r>
          </a:p>
          <a:p>
            <a:pPr lvl="3" algn="just">
              <a:spcAft>
                <a:spcPts val="0"/>
              </a:spcAft>
            </a:pPr>
            <a:r>
              <a:rPr lang="en-US" sz="1100" dirty="0" smtClean="0"/>
              <a:t>Customer Segmentations</a:t>
            </a:r>
            <a:endParaRPr lang="en-US" sz="1100" dirty="0"/>
          </a:p>
          <a:p>
            <a:pPr algn="just"/>
            <a:r>
              <a:rPr lang="en-US" sz="1100" dirty="0" smtClean="0"/>
              <a:t>Academic </a:t>
            </a:r>
            <a:r>
              <a:rPr lang="en-US" sz="1100" dirty="0"/>
              <a:t>background</a:t>
            </a:r>
          </a:p>
          <a:p>
            <a:pPr marL="344488" lvl="2" indent="0" algn="just">
              <a:buNone/>
            </a:pPr>
            <a:r>
              <a:rPr lang="en-US" sz="1100" dirty="0" smtClean="0"/>
              <a:t>Bachelor of Technology (Information Technology), 2008</a:t>
            </a:r>
            <a:endParaRPr lang="en-US" sz="1100" dirty="0"/>
          </a:p>
          <a:p>
            <a:pPr marL="344488" lvl="2" indent="0" algn="just">
              <a:buNone/>
            </a:pPr>
            <a:endParaRPr lang="en-US" sz="1100" b="1" dirty="0"/>
          </a:p>
          <a:p>
            <a:pPr marL="0" lvl="2" indent="0" algn="just">
              <a:buNone/>
            </a:pPr>
            <a:r>
              <a:rPr lang="en-US" sz="1100" b="1" dirty="0"/>
              <a:t>Certifications</a:t>
            </a:r>
            <a:endParaRPr lang="en-US" sz="1100" dirty="0"/>
          </a:p>
          <a:p>
            <a:pPr lvl="2" algn="just">
              <a:spcBef>
                <a:spcPts val="600"/>
              </a:spcBef>
            </a:pPr>
            <a:r>
              <a:rPr lang="en-US" sz="1100" dirty="0" smtClean="0"/>
              <a:t>SAS </a:t>
            </a:r>
            <a:r>
              <a:rPr lang="en-US" sz="1100" dirty="0"/>
              <a:t>Certified Base Programmer for SAS 9 (SAS Institute Inc.)</a:t>
            </a:r>
            <a:endParaRPr lang="en-US" sz="1100" dirty="0"/>
          </a:p>
          <a:p>
            <a:pPr lvl="2" algn="just"/>
            <a:r>
              <a:rPr lang="en-US" sz="1100" dirty="0"/>
              <a:t>Machine </a:t>
            </a:r>
            <a:r>
              <a:rPr lang="en-US" sz="1100" dirty="0" smtClean="0"/>
              <a:t>Learning: Classification </a:t>
            </a:r>
            <a:r>
              <a:rPr lang="en-US" sz="1100" dirty="0"/>
              <a:t>by University of Washington on Coursera</a:t>
            </a:r>
            <a:endParaRPr lang="en-US" sz="1100" dirty="0"/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289" y="978814"/>
            <a:ext cx="1388116" cy="1388116"/>
          </a:xfrm>
        </p:spPr>
      </p:pic>
    </p:spTree>
    <p:extLst>
      <p:ext uri="{BB962C8B-B14F-4D97-AF65-F5344CB8AC3E}">
        <p14:creationId xmlns:p14="http://schemas.microsoft.com/office/powerpoint/2010/main" val="407762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glob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 Onscreen_inkl Timesaver_Juli16.pptx" id="{CC9DC0BC-C072-41AF-B056-C3B924E3D90C}" vid="{8123D606-A9C9-4C9E-9C33-141D5E3D33A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9FEA2A020E32409B7B8E67E7E62D25" ma:contentTypeVersion="1" ma:contentTypeDescription="Create a new document." ma:contentTypeScope="" ma:versionID="bf0b5a45b46b32bb72ed6bffcbf0251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09C5394-2237-4AC8-B3FA-B2BD0B543C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9F87088-046A-466F-808D-33A9F8B0C3BD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AE2A5D6-FF8C-4C28-94C2-E86D2D8A5B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4_3 Onscreen_inkl Timesaver_Juli16</Template>
  <TotalTime>133</TotalTime>
  <Words>264</Words>
  <Application>Microsoft Office PowerPoint</Application>
  <PresentationFormat>On-screen Show (4:3)</PresentationFormat>
  <Paragraphs>2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1_Deloitte_US_Onscreen</vt:lpstr>
      <vt:lpstr>think-cell Slide</vt:lpstr>
      <vt:lpstr>Profile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Becker, Sandra (DE - Frankfurt)</dc:creator>
  <cp:lastModifiedBy>Arora, Ankur</cp:lastModifiedBy>
  <cp:revision>104</cp:revision>
  <cp:lastPrinted>2016-05-30T14:38:56Z</cp:lastPrinted>
  <dcterms:created xsi:type="dcterms:W3CDTF">2016-08-01T07:34:13Z</dcterms:created>
  <dcterms:modified xsi:type="dcterms:W3CDTF">2018-03-05T17:2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9FEA2A020E32409B7B8E67E7E62D25</vt:lpwstr>
  </property>
</Properties>
</file>